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  <p:sldMasterId id="2147483672" r:id="rId3"/>
    <p:sldMasterId id="2147483684" r:id="rId4"/>
  </p:sldMasterIdLst>
  <p:notesMasterIdLst>
    <p:notesMasterId r:id="rId18"/>
  </p:notesMasterIdLst>
  <p:sldIdLst>
    <p:sldId id="299" r:id="rId5"/>
    <p:sldId id="262" r:id="rId6"/>
    <p:sldId id="312" r:id="rId7"/>
    <p:sldId id="311" r:id="rId8"/>
    <p:sldId id="304" r:id="rId9"/>
    <p:sldId id="305" r:id="rId10"/>
    <p:sldId id="313" r:id="rId11"/>
    <p:sldId id="314" r:id="rId12"/>
    <p:sldId id="316" r:id="rId13"/>
    <p:sldId id="302" r:id="rId14"/>
    <p:sldId id="303" r:id="rId15"/>
    <p:sldId id="306" r:id="rId16"/>
    <p:sldId id="307" r:id="rId17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38" autoAdjust="0"/>
  </p:normalViewPr>
  <p:slideViewPr>
    <p:cSldViewPr>
      <p:cViewPr>
        <p:scale>
          <a:sx n="80" d="100"/>
          <a:sy n="80" d="100"/>
        </p:scale>
        <p:origin x="-1086" y="2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2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26FA80-3B73-416C-B39B-C59013226097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9573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219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797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83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9230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0422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595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9412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12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6902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0366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2899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1271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3468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0201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7991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5897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3468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7091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3387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179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3028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5342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0055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4254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4366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432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0106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760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5636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05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7097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4491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638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tx2">
                <a:lumMod val="20000"/>
                <a:lumOff val="80000"/>
                <a:alpha val="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092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tx2">
                <a:lumMod val="20000"/>
                <a:lumOff val="80000"/>
                <a:alpha val="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624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tx2">
                <a:lumMod val="20000"/>
                <a:lumOff val="80000"/>
                <a:alpha val="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46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12" Type="http://schemas.openxmlformats.org/officeDocument/2006/relationships/image" Target="../media/image19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5" Type="http://schemas.openxmlformats.org/officeDocument/2006/relationships/image" Target="../media/image9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6.jpeg"/><Relationship Id="rId1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9.emf"/><Relationship Id="rId10" Type="http://schemas.openxmlformats.org/officeDocument/2006/relationships/image" Target="../media/image26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51520" y="332656"/>
            <a:ext cx="8648700" cy="648072"/>
          </a:xfrm>
        </p:spPr>
        <p:txBody>
          <a:bodyPr>
            <a:no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аспорт проекта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еремещения посетителей и участников образовательных отношений внутри ДОО»</a:t>
            </a:r>
            <a:endParaRPr lang="ru-RU" sz="1600" dirty="0" smtClean="0"/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51520" y="908720"/>
            <a:ext cx="8712968" cy="18002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2780928"/>
            <a:ext cx="8712968" cy="144016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980728"/>
            <a:ext cx="175169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51520" y="4221088"/>
            <a:ext cx="8712968" cy="122413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2780928"/>
            <a:ext cx="309634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4221088"/>
            <a:ext cx="122860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23728" y="1052736"/>
            <a:ext cx="512127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аименование органа местного  самоуправления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: Управление образование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Яковлевского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городского округа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аименование отдела 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униципальное бюджетное дошкольное образовательное учреждение «Детский сад «Яблонька» с.Дмитриевка»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раницы процесс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 </a:t>
            </a:r>
            <a:r>
              <a:rPr lang="ru-RU" sz="1200" dirty="0" smtClean="0">
                <a:latin typeface="Times New Roman" pitchFamily="18" charset="0"/>
                <a:ea typeface="Calibri"/>
                <a:cs typeface="Times New Roman" pitchFamily="18" charset="0"/>
              </a:rPr>
              <a:t> входа участников  образовательных отношений  в здание детского сада  до прихода к пункту назначения 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Дата начала  проект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2.06.2020 г.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Дата окончания проект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0.11.2020 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51520" y="3068960"/>
            <a:ext cx="85689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09728" lvl="0">
              <a:spcBef>
                <a:spcPts val="400"/>
              </a:spcBef>
              <a:buClr>
                <a:srgbClr val="2DA2BF"/>
              </a:buClr>
              <a:buSzPct val="68000"/>
              <a:defRPr/>
            </a:pPr>
            <a:endParaRPr lang="ru-RU" sz="1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9250" indent="-349250"/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1520" y="4293096"/>
            <a:ext cx="81369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                 </a:t>
            </a:r>
            <a:endParaRPr lang="ru-RU" altLang="en-US" sz="1400" dirty="0" smtClean="0">
              <a:latin typeface="Times New Roman" pitchFamily="18" charset="0"/>
              <a:ea typeface="Franklin Gothic Book" pitchFamily="34" charset="0"/>
              <a:cs typeface="Times New Roman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</a:pPr>
            <a:endParaRPr lang="ru-RU" altLang="en-US" sz="1400" dirty="0" smtClean="0">
              <a:latin typeface="Franklin Gothic Book" pitchFamily="34" charset="0"/>
              <a:ea typeface="Franklin Gothic Book" pitchFamily="34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</a:pPr>
            <a:endParaRPr lang="ru-RU" altLang="en-US" sz="1400" dirty="0" smtClean="0">
              <a:latin typeface="Times New Roman" pitchFamily="18" charset="0"/>
              <a:ea typeface="Franklin Gothic Book" pitchFamily="34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51520" y="5373216"/>
            <a:ext cx="8712968" cy="122413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85720" y="5357826"/>
            <a:ext cx="1547411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5720" y="5572140"/>
            <a:ext cx="860676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1.Эффективное использование времени родителей (законных представителей) и посетителей ДОО.</a:t>
            </a:r>
          </a:p>
          <a:p>
            <a:pPr lvl="0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.Экономия затрат на насыщение холлов ДОО схемами  навигацией составило 3000 рублей.</a:t>
            </a:r>
          </a:p>
          <a:p>
            <a:pPr lvl="0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3.Повышение уровня удовлетворенности участников образовательных отношений перемещением внутри ДОО   до 90%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1520" y="1412776"/>
            <a:ext cx="180020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  <a:p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7215206" y="1357298"/>
            <a:ext cx="1638814" cy="11935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sp>
        <p:nvSpPr>
          <p:cNvPr id="36866" name="Rectangle 2"/>
          <p:cNvSpPr>
            <a:spLocks noChangeArrowheads="1"/>
          </p:cNvSpPr>
          <p:nvPr/>
        </p:nvSpPr>
        <p:spPr bwMode="auto">
          <a:xfrm>
            <a:off x="251520" y="2959699"/>
            <a:ext cx="8568952" cy="1189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1.Процесс нахождения нужного помещения или специалиста из- за отсутствия при входе в ДОО  схемы  навигации до 10 мин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rgbClr val="11111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2.Временные потери  при перемещении по коридорам ДОО участников  образовательных отношений до 10 мин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rgbClr val="11111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3.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сетитель не знает к кому обратиться, долгий процесс поиска в пределах 5 мин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rgbClr val="11111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4.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Лишние перемещения и потеря времени всех участников процесса,   пределах 5-10 мин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5.В ходе анкетирования  выявлены 50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% потребителей, не довольных  процессом перемещения участников образовательных отношений внутри ДОО.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3528" y="4437112"/>
            <a:ext cx="59766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1. Сокращение времени протекания процесса </a:t>
            </a:r>
          </a:p>
          <a:p>
            <a:pPr marL="228600" indent="-228600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. Уменьшение временных затрат на поиск нужного помещения</a:t>
            </a:r>
          </a:p>
          <a:p>
            <a:pPr marL="228600" indent="-228600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3.Насыщение холлов схемами, маршрутами навигации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8915" name="Picture 3" descr="C:\Users\USER\Desktop\Новая папка (3)\IMG-4446ff63a0d52f981460df7db0abbd9a-V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340768"/>
            <a:ext cx="1890803" cy="1080121"/>
          </a:xfrm>
          <a:prstGeom prst="rect">
            <a:avLst/>
          </a:prstGeom>
          <a:noFill/>
        </p:spPr>
      </p:pic>
      <p:pic>
        <p:nvPicPr>
          <p:cNvPr id="38916" name="Picture 4" descr="C:\Users\USER\Desktop\с телефона\16008549336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1340768"/>
            <a:ext cx="1728192" cy="12453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51520" y="4077072"/>
            <a:ext cx="8636000" cy="259228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1340768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1268760"/>
            <a:ext cx="186448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3995936" y="1844824"/>
            <a:ext cx="195742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работана схема расположения внутренних помещений ДОО.</a:t>
            </a:r>
          </a:p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мещена система навигации при входе в учреждение</a:t>
            </a:r>
          </a:p>
          <a:p>
            <a:pPr algn="ctr"/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411760" y="1484784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211960" y="148478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341504" y="4099063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3059832" y="4077072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34531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рудности  в </a:t>
            </a:r>
          </a:p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иске нужного помещения (специалиста)</a:t>
            </a:r>
            <a:endParaRPr lang="ru-RU" sz="12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2915816" y="4365104"/>
            <a:ext cx="1584176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а дверях размещены таблички с названиями кабинетов, помещений ДОО</a:t>
            </a:r>
          </a:p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мещены указатели 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181638" y="1769534"/>
            <a:ext cx="188514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сутствует система навигации в ДОО</a:t>
            </a:r>
            <a:endParaRPr lang="ru-RU" sz="1200" dirty="0"/>
          </a:p>
        </p:txBody>
      </p:sp>
      <p:pic>
        <p:nvPicPr>
          <p:cNvPr id="29718" name="Picture 2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4581128"/>
            <a:ext cx="1080120" cy="1440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722" name="Picture 26" descr="C:\Users\USER\Desktop\для проекта\IMG_20201124_142429_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flipH="1">
            <a:off x="5796136" y="4077072"/>
            <a:ext cx="810090" cy="1080120"/>
          </a:xfrm>
          <a:prstGeom prst="rect">
            <a:avLst/>
          </a:prstGeom>
          <a:noFill/>
        </p:spPr>
      </p:pic>
      <p:pic>
        <p:nvPicPr>
          <p:cNvPr id="29724" name="Picture 28" descr="C:\Users\USER\Desktop\для проекта\IMG_20201124_170740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211960" y="5373216"/>
            <a:ext cx="811860" cy="1082480"/>
          </a:xfrm>
          <a:prstGeom prst="rect">
            <a:avLst/>
          </a:prstGeom>
          <a:noFill/>
        </p:spPr>
      </p:pic>
      <p:pic>
        <p:nvPicPr>
          <p:cNvPr id="29727" name="Picture 31" descr="C:\Users\USER\Desktop\для проекта\план (pdf.io) (2)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76256" y="1700808"/>
            <a:ext cx="1440160" cy="1135973"/>
          </a:xfrm>
          <a:prstGeom prst="rect">
            <a:avLst/>
          </a:prstGeom>
          <a:noFill/>
        </p:spPr>
      </p:pic>
      <p:pic>
        <p:nvPicPr>
          <p:cNvPr id="29728" name="Picture 32" descr="C:\Users\USER\Desktop\для проекта\План 2 (pdf.io) (2)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36296" y="2420888"/>
            <a:ext cx="1512168" cy="1070832"/>
          </a:xfrm>
          <a:prstGeom prst="rect">
            <a:avLst/>
          </a:prstGeom>
          <a:noFill/>
        </p:spPr>
      </p:pic>
      <p:pic>
        <p:nvPicPr>
          <p:cNvPr id="29729" name="Picture 33" descr="C:\Users\USER\Desktop\для проекта\IMG-20201125-WA0004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868144" y="1700808"/>
            <a:ext cx="1026114" cy="1368152"/>
          </a:xfrm>
          <a:prstGeom prst="rect">
            <a:avLst/>
          </a:prstGeom>
          <a:noFill/>
        </p:spPr>
      </p:pic>
      <p:pic>
        <p:nvPicPr>
          <p:cNvPr id="3" name="Picture 29" descr="C:\Users\USER\Desktop\для проекта\IMG_20201124_170744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220072" y="5229200"/>
            <a:ext cx="1665690" cy="1327622"/>
          </a:xfrm>
          <a:prstGeom prst="rect">
            <a:avLst/>
          </a:prstGeom>
          <a:noFill/>
        </p:spPr>
      </p:pic>
      <p:pic>
        <p:nvPicPr>
          <p:cNvPr id="4" name="Picture 30" descr="C:\Users\USER\Desktop\для проекта\IMG_20201124_142429_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04248" y="4077072"/>
            <a:ext cx="1595833" cy="1963677"/>
          </a:xfrm>
          <a:prstGeom prst="rect">
            <a:avLst/>
          </a:prstGeom>
          <a:noFill/>
        </p:spPr>
      </p:pic>
      <p:pic>
        <p:nvPicPr>
          <p:cNvPr id="29" name="Picture 27" descr="C:\Users\USER\Desktop\1606753900846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67544" y="1772816"/>
            <a:ext cx="1296144" cy="17281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323528" y="3140968"/>
            <a:ext cx="8636000" cy="324036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1268760"/>
            <a:ext cx="8568952" cy="17281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86448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3923928" y="1700808"/>
            <a:ext cx="187220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Составлен график дежурства на вахте.</a:t>
            </a:r>
          </a:p>
          <a:p>
            <a:pPr lvl="0" algn="ctr">
              <a:defRPr/>
            </a:pP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Создан информационный буклет по перемещению в ДОО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195736" y="141277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251520" y="3140968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3779912" y="3140968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23528" y="3429000"/>
            <a:ext cx="18502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труднение в выборе правильного направления открывания дверей  ДОО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3131840" y="3429001"/>
            <a:ext cx="201622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формлены и размещены карточки направления открывания дверей</a:t>
            </a:r>
          </a:p>
          <a:p>
            <a:pPr algn="ctr">
              <a:defRPr/>
            </a:pPr>
            <a:r>
              <a:rPr lang="ru-RU" sz="1200" smtClean="0">
                <a:latin typeface="Times New Roman" pitchFamily="18" charset="0"/>
                <a:cs typeface="Times New Roman" pitchFamily="18" charset="0"/>
              </a:rPr>
              <a:t>Размечено траектория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крывания дверей (безопасное открывание и закрывание)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1835696" y="1772816"/>
            <a:ext cx="188514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just">
              <a:defRPr/>
            </a:pPr>
            <a:r>
              <a:rPr lang="ru-RU" sz="1200" dirty="0" smtClean="0">
                <a:ln w="3175">
                  <a:noFill/>
                </a:ln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лечение сотрудников ДОО на сопровождение родителей (законных представителей и посетителей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30744" name="Picture 24" descr="C:\Users\USER\Desktop\для проекта\IMG-20201125-WA000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68144" y="1340768"/>
            <a:ext cx="978644" cy="737513"/>
          </a:xfrm>
          <a:prstGeom prst="rect">
            <a:avLst/>
          </a:prstGeom>
          <a:noFill/>
        </p:spPr>
      </p:pic>
      <p:pic>
        <p:nvPicPr>
          <p:cNvPr id="30745" name="Picture 25" descr="C:\Users\USER\Desktop\для проекта\IMG-20201125-WA000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12160" y="1700808"/>
            <a:ext cx="576064" cy="1138820"/>
          </a:xfrm>
          <a:prstGeom prst="rect">
            <a:avLst/>
          </a:prstGeom>
          <a:noFill/>
        </p:spPr>
      </p:pic>
      <p:pic>
        <p:nvPicPr>
          <p:cNvPr id="30748" name="Picture 28" descr="C:\Users\USER\Desktop\для проекта\IMG_20201124_14395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076056" y="3140968"/>
            <a:ext cx="1133318" cy="1512168"/>
          </a:xfrm>
          <a:prstGeom prst="rect">
            <a:avLst/>
          </a:prstGeom>
          <a:noFill/>
        </p:spPr>
      </p:pic>
      <p:pic>
        <p:nvPicPr>
          <p:cNvPr id="4" name="Picture 28" descr="C:\Users\USER\Desktop\IMG-f52e0967ab18da700a01483ffc50c671-V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36296" y="1340767"/>
            <a:ext cx="1224136" cy="1632182"/>
          </a:xfrm>
          <a:prstGeom prst="rect">
            <a:avLst/>
          </a:prstGeom>
          <a:noFill/>
        </p:spPr>
      </p:pic>
      <p:pic>
        <p:nvPicPr>
          <p:cNvPr id="5" name="Picture 29" descr="C:\Users\USER\Desktop\IMG-b35e26c23de21948fc8a5ddb8ad2bf9d-V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9552" y="1556792"/>
            <a:ext cx="1008112" cy="1344150"/>
          </a:xfrm>
          <a:prstGeom prst="rect">
            <a:avLst/>
          </a:prstGeom>
          <a:noFill/>
        </p:spPr>
      </p:pic>
      <p:pic>
        <p:nvPicPr>
          <p:cNvPr id="30750" name="Picture 30" descr="C:\Users\USER\Desktop\для проекта\IMG_20201124_143953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156176" y="3429000"/>
            <a:ext cx="1359247" cy="1166120"/>
          </a:xfrm>
          <a:prstGeom prst="rect">
            <a:avLst/>
          </a:prstGeom>
          <a:noFill/>
        </p:spPr>
      </p:pic>
      <p:pic>
        <p:nvPicPr>
          <p:cNvPr id="30751" name="Picture 31" descr="C:\Users\USER\Desktop\IMG-fffa80ebe2e6db9d6aeff23f438f5bb5-V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236296" y="4509120"/>
            <a:ext cx="1512168" cy="1706036"/>
          </a:xfrm>
          <a:prstGeom prst="rect">
            <a:avLst/>
          </a:prstGeom>
          <a:noFill/>
        </p:spPr>
      </p:pic>
      <p:pic>
        <p:nvPicPr>
          <p:cNvPr id="7" name="Picture 3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502" y="4262542"/>
            <a:ext cx="1287513" cy="1713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347864" y="692697"/>
            <a:ext cx="1224136" cy="792088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dirty="0" smtClean="0">
                <a:solidFill>
                  <a:srgbClr val="FF0000"/>
                </a:solidFill>
              </a:rPr>
              <a:t>(1800 сек)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2339752" y="1052736"/>
            <a:ext cx="1008112" cy="1221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251520" y="692696"/>
            <a:ext cx="2160240" cy="936104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перемещения  посетителей  и участников образовательных отношений внутри 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О</a:t>
            </a:r>
          </a:p>
          <a:p>
            <a:pPr lvl="0" algn="ct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июнь 2020 года)</a:t>
            </a:r>
            <a:endParaRPr lang="ru-RU" sz="1200" b="1" dirty="0">
              <a:solidFill>
                <a:prstClr val="black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>
            <a:off x="4553075" y="857232"/>
            <a:ext cx="18925" cy="4155944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347864" y="1772816"/>
            <a:ext cx="1102469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600 сек)</a:t>
            </a:r>
            <a:endParaRPr 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51520" y="1772816"/>
            <a:ext cx="2082800" cy="57606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endParaRPr lang="ru-RU" sz="12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339752" y="2060848"/>
            <a:ext cx="98191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79512" y="1700808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4499992" y="4149080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572000" y="3356992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419872" y="2636912"/>
            <a:ext cx="1043682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180сек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79512" y="2564905"/>
            <a:ext cx="2082800" cy="648072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ln w="3175">
                  <a:noFill/>
                </a:ln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иентируется на территории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267744" y="2924944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7884368" y="619023"/>
            <a:ext cx="1132349" cy="793753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480 сек)</a:t>
            </a:r>
            <a:endParaRPr lang="ru-RU" sz="1200" dirty="0" smtClean="0">
              <a:solidFill>
                <a:srgbClr val="00B050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6948264" y="1124744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644008" y="692696"/>
            <a:ext cx="2304255" cy="864096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перемещения  посетителей  и участников образовательных отношений внутри 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О</a:t>
            </a:r>
          </a:p>
          <a:p>
            <a:pPr lvl="0" algn="ct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ноябрь 2020 года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1200" dirty="0" smtClean="0">
              <a:solidFill>
                <a:prstClr val="black"/>
              </a:solidFill>
            </a:endParaRPr>
          </a:p>
          <a:p>
            <a:pPr algn="ctr">
              <a:defRPr/>
            </a:pPr>
            <a:endParaRPr lang="ru-RU" sz="1200" dirty="0">
              <a:solidFill>
                <a:srgbClr val="464646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572000" y="1700808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7884368" y="1772816"/>
            <a:ext cx="1080120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120сек)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644008" y="1772817"/>
            <a:ext cx="2376264" cy="576063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ходит на территорию ДОО</a:t>
            </a:r>
            <a:endParaRPr lang="ru-RU" sz="12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52" name="Прямая соединительная линия 51"/>
          <p:cNvCxnSpPr>
            <a:stCxn id="51" idx="3"/>
            <a:endCxn id="50" idx="2"/>
          </p:cNvCxnSpPr>
          <p:nvPr/>
        </p:nvCxnSpPr>
        <p:spPr>
          <a:xfrm flipV="1">
            <a:off x="7020272" y="2060848"/>
            <a:ext cx="86409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028384" y="2636912"/>
            <a:ext cx="989124" cy="5040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60сек</a:t>
            </a:r>
            <a:r>
              <a:rPr lang="ru-RU" sz="1400" b="1" dirty="0" smtClean="0">
                <a:solidFill>
                  <a:srgbClr val="00B050"/>
                </a:solidFill>
              </a:rPr>
              <a:t>)</a:t>
            </a:r>
            <a:endParaRPr lang="ru-RU" sz="1400" b="1" dirty="0">
              <a:solidFill>
                <a:srgbClr val="00B050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644008" y="2564904"/>
            <a:ext cx="2408237" cy="57606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ln w="3175">
                  <a:noFill/>
                </a:ln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иентируется на территории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092280" y="2924944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0" y="404664"/>
            <a:ext cx="9144000" cy="6336703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 smtClean="0"/>
              <a:t>17</a:t>
            </a:r>
            <a:endParaRPr lang="ru-RU" sz="1400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395536" y="404664"/>
            <a:ext cx="12961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5004048" y="404664"/>
            <a:ext cx="12763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79512" y="3501008"/>
            <a:ext cx="2088232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ходит в здание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2" name="Блок-схема: узел 61"/>
          <p:cNvSpPr/>
          <p:nvPr/>
        </p:nvSpPr>
        <p:spPr>
          <a:xfrm>
            <a:off x="3347864" y="3501008"/>
            <a:ext cx="1115690" cy="5040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180 сек)</a:t>
            </a:r>
            <a:endParaRPr 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Блок-схема: узел 63"/>
          <p:cNvSpPr/>
          <p:nvPr/>
        </p:nvSpPr>
        <p:spPr>
          <a:xfrm>
            <a:off x="7956376" y="3429000"/>
            <a:ext cx="1043608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45 сек)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7092280" y="3717032"/>
            <a:ext cx="96869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2339752" y="3717032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4572000" y="3429000"/>
            <a:ext cx="2408237" cy="504056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ходит в здание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 flipH="1">
            <a:off x="179512" y="2492896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>
            <a:off x="4572000" y="2492896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179512" y="4293096"/>
            <a:ext cx="2088232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гистрируется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267744" y="4509120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7092280" y="4581128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4644008" y="4221088"/>
            <a:ext cx="2408237" cy="504056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гистрируется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2" name="Блок-схема: узел 41"/>
          <p:cNvSpPr/>
          <p:nvPr/>
        </p:nvSpPr>
        <p:spPr>
          <a:xfrm>
            <a:off x="8100392" y="4221088"/>
            <a:ext cx="1043608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45 сек)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Блок-схема: узел 42"/>
          <p:cNvSpPr/>
          <p:nvPr/>
        </p:nvSpPr>
        <p:spPr>
          <a:xfrm>
            <a:off x="3347864" y="4293096"/>
            <a:ext cx="1115616" cy="5040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90 сек)</a:t>
            </a:r>
            <a:endParaRPr 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95536" y="1844825"/>
            <a:ext cx="1672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ходит на территорию</a:t>
            </a:r>
          </a:p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ДОО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 flipH="1">
            <a:off x="0" y="3356992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H="1">
            <a:off x="0" y="4149080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179512" y="4941168"/>
            <a:ext cx="2088232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ращается к вахтеру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4716016" y="4941168"/>
            <a:ext cx="2304256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ращается к вахтеру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4716016" y="5517232"/>
            <a:ext cx="2304256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щет кабинет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179512" y="5517232"/>
            <a:ext cx="2088232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щет кабинет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179512" y="6165304"/>
            <a:ext cx="2088232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ходит в пункт назначения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4716016" y="6093296"/>
            <a:ext cx="2376264" cy="432048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ходит в пункт назначения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4" name="Блок-схема: узел 83"/>
          <p:cNvSpPr/>
          <p:nvPr/>
        </p:nvSpPr>
        <p:spPr>
          <a:xfrm>
            <a:off x="3419872" y="4869160"/>
            <a:ext cx="1115616" cy="5040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90 сек)</a:t>
            </a:r>
            <a:endParaRPr 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5" name="Блок-схема: узел 84"/>
          <p:cNvSpPr/>
          <p:nvPr/>
        </p:nvSpPr>
        <p:spPr>
          <a:xfrm>
            <a:off x="3419872" y="5517232"/>
            <a:ext cx="1115616" cy="5040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60 </a:t>
            </a: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ек)</a:t>
            </a:r>
            <a:endParaRPr lang="ru-RU" sz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6" name="Блок-схема: узел 85"/>
          <p:cNvSpPr/>
          <p:nvPr/>
        </p:nvSpPr>
        <p:spPr>
          <a:xfrm>
            <a:off x="3275856" y="6093296"/>
            <a:ext cx="1224136" cy="5040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80 </a:t>
            </a:r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ек</a:t>
            </a:r>
            <a:r>
              <a:rPr lang="ru-RU" sz="1200" dirty="0" smtClean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1200" dirty="0">
              <a:solidFill>
                <a:srgbClr val="92D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7" name="Блок-схема: узел 86"/>
          <p:cNvSpPr/>
          <p:nvPr/>
        </p:nvSpPr>
        <p:spPr>
          <a:xfrm>
            <a:off x="8207896" y="4869160"/>
            <a:ext cx="936104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8" name="Блок-схема: узел 87"/>
          <p:cNvSpPr/>
          <p:nvPr/>
        </p:nvSpPr>
        <p:spPr>
          <a:xfrm>
            <a:off x="7956376" y="5517232"/>
            <a:ext cx="1187624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150 сек)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9" name="Блок-схема: узел 88"/>
          <p:cNvSpPr/>
          <p:nvPr/>
        </p:nvSpPr>
        <p:spPr>
          <a:xfrm>
            <a:off x="8028384" y="6093296"/>
            <a:ext cx="1115616" cy="576064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(60 сек)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>
            <a:off x="2339752" y="5157192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2339752" y="5733256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2339752" y="6381328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7092280" y="5229200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>
            <a:off x="7092280" y="5805264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>
            <a:off x="7092280" y="6381328"/>
            <a:ext cx="1040706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464646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</a:t>
            </a:r>
            <a:endParaRPr lang="ru-RU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797" y="1507030"/>
            <a:ext cx="36004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latin typeface="Times New Roman" pitchFamily="18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latin typeface="Times New Roman" pitchFamily="18" charset="0"/>
                <a:cs typeface="Times New Roman" pitchFamily="18" charset="0"/>
              </a:rPr>
              <a:t> </a:t>
            </a:r>
            <a:endParaRPr lang="ru-RU" alt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Сокращено время </a:t>
            </a:r>
            <a:r>
              <a:rPr lang="ru-RU" sz="1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одителей (законных представителей) и посетителей </a:t>
            </a: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О  на поиск нужного объекта.</a:t>
            </a:r>
            <a:endParaRPr lang="ru-RU" sz="14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just" eaLnBrk="0" hangingPunct="0"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.Сокращены  затраты </a:t>
            </a:r>
            <a:r>
              <a:rPr lang="ru-RU" sz="1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насыщение холлов ДОО схемами  </a:t>
            </a: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вигацией</a:t>
            </a:r>
            <a:endParaRPr lang="ru-RU" sz="14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indent="-228600" algn="just" eaLnBrk="0" hangingPunct="0">
              <a:defRPr/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ru-RU" sz="1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ru-RU" sz="1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3.Повышен уровень </a:t>
            </a:r>
            <a:r>
              <a:rPr lang="ru-RU" sz="1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довлетворенности участников образовательных отношений перемещением внутри ДОО   до 90%</a:t>
            </a:r>
          </a:p>
          <a:p>
            <a:pPr marL="228600" indent="-228600" algn="just" eaLnBrk="0" hangingPunct="0"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63839" y="1916832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463839" y="3076110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latin typeface="Arial Narrow" panose="020B0606020202030204" pitchFamily="34" charset="0"/>
              </a:rPr>
              <a:t>t</a:t>
            </a:r>
            <a:r>
              <a:rPr lang="ru-RU" i="1" dirty="0" smtClean="0">
                <a:latin typeface="Arial Narrow" panose="020B0606020202030204" pitchFamily="34" charset="0"/>
              </a:rPr>
              <a:t> 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протекания</a:t>
            </a:r>
            <a:r>
              <a:rPr lang="ru-RU" i="1" dirty="0" smtClean="0">
                <a:latin typeface="Arial Narrow" panose="020B0606020202030204" pitchFamily="34" charset="0"/>
              </a:rPr>
              <a:t> процесса</a:t>
            </a:r>
            <a:endParaRPr lang="ru-RU" i="1" dirty="0">
              <a:latin typeface="Arial Narrow" panose="020B060602020203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403648" y="2924944"/>
            <a:ext cx="1584176" cy="21602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80 сек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403648" y="1916832"/>
            <a:ext cx="1584176" cy="19442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3%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523" y="3992488"/>
            <a:ext cx="73818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323528" y="3645024"/>
            <a:ext cx="8208912" cy="28803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23528" y="1124744"/>
            <a:ext cx="8208912" cy="23712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506412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</a:t>
            </a:r>
            <a:r>
              <a:rPr lang="ru-RU" sz="14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5913" y="3630613"/>
            <a:ext cx="201029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843808" y="2924944"/>
            <a:ext cx="1728192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 err="1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Хребтова</a:t>
            </a:r>
            <a:r>
              <a:rPr lang="ru-RU" altLang="ru-RU" sz="1200" b="1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 Инна Викторовна, заведующий</a:t>
            </a:r>
            <a:endParaRPr lang="ru-RU" altLang="ru-RU" sz="1200" kern="0" dirty="0" smtClean="0">
              <a:solidFill>
                <a:srgbClr val="00295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915816" y="1196752"/>
            <a:ext cx="1538288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200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Заказчик проекта</a:t>
            </a:r>
            <a:endParaRPr lang="en-US" altLang="ru-RU" sz="1200" kern="0" dirty="0" smtClean="0">
              <a:solidFill>
                <a:srgbClr val="00295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220072" y="2996952"/>
            <a:ext cx="2088232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 err="1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Голощапова</a:t>
            </a:r>
            <a:r>
              <a:rPr lang="ru-RU" altLang="ru-RU" sz="1200" b="1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 Тамара Владимировна,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4788024" y="1196752"/>
            <a:ext cx="2155825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200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Руководитель проекта</a:t>
            </a:r>
            <a:endParaRPr lang="en-US" altLang="ru-RU" sz="1200" kern="0" dirty="0" smtClean="0">
              <a:solidFill>
                <a:srgbClr val="00295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59832" y="1556792"/>
            <a:ext cx="1255754" cy="136815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500694" y="1500174"/>
            <a:ext cx="1285676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755576" y="5589240"/>
            <a:ext cx="1462088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Долгова Екатерина Павловна, воспитатель</a:t>
            </a:r>
            <a:endParaRPr lang="ru-RU" altLang="ru-RU" sz="1200" kern="0" dirty="0" smtClean="0">
              <a:solidFill>
                <a:srgbClr val="00295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14348" y="4071942"/>
            <a:ext cx="1337372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3143240" y="5572140"/>
            <a:ext cx="1462088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Гуляева Наталья Ивановна, воспитатель</a:t>
            </a:r>
            <a:endParaRPr lang="ru-RU" altLang="ru-RU" sz="1200" kern="0" dirty="0" smtClean="0">
              <a:solidFill>
                <a:srgbClr val="00295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143240" y="4071942"/>
            <a:ext cx="1356752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5572132" y="5572140"/>
            <a:ext cx="1462088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 smtClean="0">
                <a:solidFill>
                  <a:srgbClr val="00295C"/>
                </a:solidFill>
                <a:latin typeface="Times New Roman" pitchFamily="18" charset="0"/>
                <a:cs typeface="Times New Roman" pitchFamily="18" charset="0"/>
              </a:rPr>
              <a:t>Васильева Любовь Львовна, воспитатель</a:t>
            </a:r>
            <a:endParaRPr lang="ru-RU" altLang="ru-RU" sz="1200" kern="0" dirty="0" smtClean="0">
              <a:solidFill>
                <a:srgbClr val="00295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572132" y="4071942"/>
            <a:ext cx="1376132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24578" name="Picture 2" descr="C:\Users\Админ\Desktop\DSCF003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08104" y="4005064"/>
            <a:ext cx="1518749" cy="1512168"/>
          </a:xfrm>
          <a:prstGeom prst="rect">
            <a:avLst/>
          </a:prstGeom>
          <a:noFill/>
        </p:spPr>
      </p:pic>
      <p:pic>
        <p:nvPicPr>
          <p:cNvPr id="8" name="Picture 2" descr="C:\Users\USER\Desktop\для проекта\MAM_273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9832" y="1484784"/>
            <a:ext cx="1296144" cy="1440160"/>
          </a:xfrm>
          <a:prstGeom prst="rect">
            <a:avLst/>
          </a:prstGeom>
          <a:noFill/>
        </p:spPr>
      </p:pic>
      <p:pic>
        <p:nvPicPr>
          <p:cNvPr id="35843" name="Picture 3" descr="C:\Users\USER\Desktop\для проекта\MAM_285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8104" y="1484784"/>
            <a:ext cx="1296144" cy="1512168"/>
          </a:xfrm>
          <a:prstGeom prst="rect">
            <a:avLst/>
          </a:prstGeom>
          <a:noFill/>
        </p:spPr>
      </p:pic>
      <p:pic>
        <p:nvPicPr>
          <p:cNvPr id="35844" name="Picture 4" descr="C:\Users\USER\Desktop\для проекта\MAM_2794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3569" y="4005064"/>
            <a:ext cx="1368151" cy="1548669"/>
          </a:xfrm>
          <a:prstGeom prst="rect">
            <a:avLst/>
          </a:prstGeom>
          <a:noFill/>
        </p:spPr>
      </p:pic>
      <p:pic>
        <p:nvPicPr>
          <p:cNvPr id="35845" name="Picture 5" descr="C:\Users\USER\Desktop\для проекта\MAM_273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31840" y="4005064"/>
            <a:ext cx="1368152" cy="1548323"/>
          </a:xfrm>
          <a:prstGeom prst="rect">
            <a:avLst/>
          </a:prstGeom>
          <a:noFill/>
        </p:spPr>
      </p:pic>
      <p:pic>
        <p:nvPicPr>
          <p:cNvPr id="35846" name="Picture 6" descr="C:\Users\USER\Desktop\IMG-6257b2f4164adc87b81449beda206448-V - копия (2)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2835" y="1887544"/>
            <a:ext cx="1512168" cy="14891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080120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рта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кущего состояния процесса</a:t>
            </a:r>
            <a:b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перемещения посетителей и участников образовательных отношений внутри ДОО»</a:t>
            </a: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7152"/>
          </a:xfrm>
        </p:spPr>
        <p:txBody>
          <a:bodyPr>
            <a:normAutofit lnSpcReduction="10000"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pPr marL="0" indent="0">
              <a:buNone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Временная потеря.</a:t>
            </a:r>
          </a:p>
          <a:p>
            <a:pPr marL="0" indent="0">
              <a:buNone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ru-RU" sz="1200" dirty="0" smtClean="0"/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озникновение затруднений  в  поиске нужного помещения (специалиста).</a:t>
            </a:r>
          </a:p>
          <a:p>
            <a:pPr marL="0" indent="0">
              <a:buNone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3. Отвлечение сотрудников ДОО на сопровождение родителей  (законных представителей) и посетителей.</a:t>
            </a:r>
          </a:p>
          <a:p>
            <a:pPr marL="0" indent="0">
              <a:buNone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4. Затруднение в выборе правильного направления открывания дверей в ДОО.</a:t>
            </a:r>
          </a:p>
          <a:p>
            <a:pPr marL="0" indent="0">
              <a:buNone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                                 ВПП (время протекания процесса) –1200-1800сек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916832"/>
            <a:ext cx="432048" cy="151216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ХОД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3568" y="2420888"/>
            <a:ext cx="1656184" cy="64952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ходит на территорию ДОО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87824" y="2420889"/>
            <a:ext cx="1908212" cy="72008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иентируется на территории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1907704" y="1556792"/>
            <a:ext cx="612068" cy="479717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724128" y="2420889"/>
            <a:ext cx="1872208" cy="648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ходит в здание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ятно 1 17"/>
          <p:cNvSpPr/>
          <p:nvPr/>
        </p:nvSpPr>
        <p:spPr>
          <a:xfrm>
            <a:off x="3851920" y="3429000"/>
            <a:ext cx="504056" cy="357851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79512" y="4221088"/>
            <a:ext cx="1800200" cy="72008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ется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Пятно 1 23"/>
          <p:cNvSpPr/>
          <p:nvPr/>
        </p:nvSpPr>
        <p:spPr>
          <a:xfrm>
            <a:off x="4283968" y="5013176"/>
            <a:ext cx="504056" cy="468052"/>
          </a:xfrm>
          <a:prstGeom prst="irregularSeal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339752" y="4221088"/>
            <a:ext cx="1847298" cy="72908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щается к вахтёру 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8604448" y="3717032"/>
            <a:ext cx="360040" cy="151216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ХОД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2555776" y="2348880"/>
            <a:ext cx="360039" cy="36004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 вправо 30"/>
          <p:cNvSpPr/>
          <p:nvPr/>
        </p:nvSpPr>
        <p:spPr>
          <a:xfrm flipV="1">
            <a:off x="5076056" y="2276872"/>
            <a:ext cx="432048" cy="396043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1979712" y="4149080"/>
            <a:ext cx="288032" cy="43204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ятно 2 34"/>
          <p:cNvSpPr/>
          <p:nvPr/>
        </p:nvSpPr>
        <p:spPr>
          <a:xfrm>
            <a:off x="8244408" y="3356992"/>
            <a:ext cx="648072" cy="423048"/>
          </a:xfrm>
          <a:prstGeom prst="irregularSeal2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Стрелка вправо 35"/>
          <p:cNvSpPr/>
          <p:nvPr/>
        </p:nvSpPr>
        <p:spPr>
          <a:xfrm>
            <a:off x="6444208" y="4149080"/>
            <a:ext cx="360040" cy="35103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6804248" y="4221088"/>
            <a:ext cx="1800200" cy="7393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ит в пункт назначения</a:t>
            </a:r>
          </a:p>
        </p:txBody>
      </p:sp>
      <p:sp>
        <p:nvSpPr>
          <p:cNvPr id="41" name="Пятно 2 40"/>
          <p:cNvSpPr/>
          <p:nvPr/>
        </p:nvSpPr>
        <p:spPr>
          <a:xfrm>
            <a:off x="6012160" y="3356992"/>
            <a:ext cx="654017" cy="439213"/>
          </a:xfrm>
          <a:prstGeom prst="irregularSeal2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3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134229" y="332656"/>
            <a:ext cx="1542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23.06.2020 год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Стрелка вправо 42"/>
          <p:cNvSpPr/>
          <p:nvPr/>
        </p:nvSpPr>
        <p:spPr>
          <a:xfrm flipV="1">
            <a:off x="7740352" y="2276872"/>
            <a:ext cx="432048" cy="396043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83568" y="1916832"/>
            <a:ext cx="1656184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83568" y="3068960"/>
            <a:ext cx="1656184" cy="3578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0-60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987824" y="1916832"/>
            <a:ext cx="1908212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987824" y="3068960"/>
            <a:ext cx="1908212" cy="34203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0-30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724128" y="1916832"/>
            <a:ext cx="187220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724128" y="3068960"/>
            <a:ext cx="1872208" cy="2880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0-18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79512" y="3717032"/>
            <a:ext cx="1800200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79512" y="4941168"/>
            <a:ext cx="1800200" cy="29393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-9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339752" y="3717032"/>
            <a:ext cx="184729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39752" y="4941168"/>
            <a:ext cx="1847298" cy="2837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60-9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804248" y="3717032"/>
            <a:ext cx="1800200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804248" y="4941168"/>
            <a:ext cx="1800200" cy="30743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-18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83568" y="17008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1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2987824" y="17008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2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339752" y="35010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5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804248" y="35010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7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79512" y="35010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4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724128" y="17008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3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644008" y="3717032"/>
            <a:ext cx="1847298" cy="4950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644008" y="4221088"/>
            <a:ext cx="1847298" cy="72908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щет кабинет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644008" y="4941168"/>
            <a:ext cx="1847298" cy="2837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0-36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4283968" y="4149080"/>
            <a:ext cx="360040" cy="35103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4644008" y="350100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6</a:t>
            </a:r>
            <a:endParaRPr lang="ru-RU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88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692696"/>
            <a:ext cx="7571183" cy="792088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939131" y="1556792"/>
            <a:ext cx="1788652" cy="1581704"/>
            <a:chOff x="1769969" y="0"/>
            <a:chExt cx="1788652" cy="1581704"/>
          </a:xfrm>
        </p:grpSpPr>
        <p:sp>
          <p:nvSpPr>
            <p:cNvPr id="6" name="Трапеция 5"/>
            <p:cNvSpPr/>
            <p:nvPr/>
          </p:nvSpPr>
          <p:spPr>
            <a:xfrm>
              <a:off x="1769969" y="0"/>
              <a:ext cx="1788652" cy="1581704"/>
            </a:xfrm>
            <a:prstGeom prst="trapezoid">
              <a:avLst>
                <a:gd name="adj" fmla="val 56542"/>
              </a:avLst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alpha val="9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Трапеция 4"/>
            <p:cNvSpPr/>
            <p:nvPr/>
          </p:nvSpPr>
          <p:spPr>
            <a:xfrm>
              <a:off x="1769969" y="0"/>
              <a:ext cx="1788652" cy="15817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Федеральный </a:t>
              </a: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уровень</a:t>
              </a:r>
              <a:endPara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044805" y="3068960"/>
            <a:ext cx="3577304" cy="1651240"/>
            <a:chOff x="903403" y="1579205"/>
            <a:chExt cx="3577304" cy="1581704"/>
          </a:xfrm>
        </p:grpSpPr>
        <p:sp>
          <p:nvSpPr>
            <p:cNvPr id="9" name="Трапеция 8"/>
            <p:cNvSpPr/>
            <p:nvPr/>
          </p:nvSpPr>
          <p:spPr>
            <a:xfrm>
              <a:off x="903403" y="1579205"/>
              <a:ext cx="3577304" cy="1581704"/>
            </a:xfrm>
            <a:prstGeom prst="trapezoid">
              <a:avLst>
                <a:gd name="adj" fmla="val 56542"/>
              </a:avLst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10" name="Трапеция 4"/>
            <p:cNvSpPr/>
            <p:nvPr/>
          </p:nvSpPr>
          <p:spPr>
            <a:xfrm>
              <a:off x="1529431" y="1579205"/>
              <a:ext cx="2325248" cy="15817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егиональный уровень</a:t>
              </a:r>
              <a:endPara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169161" y="4720200"/>
            <a:ext cx="5328591" cy="1548662"/>
            <a:chOff x="0" y="3163409"/>
            <a:chExt cx="5328591" cy="1548662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12" name="Трапеция 11"/>
            <p:cNvSpPr/>
            <p:nvPr/>
          </p:nvSpPr>
          <p:spPr>
            <a:xfrm>
              <a:off x="0" y="3163409"/>
              <a:ext cx="5328591" cy="1548662"/>
            </a:xfrm>
            <a:prstGeom prst="trapezoid">
              <a:avLst>
                <a:gd name="adj" fmla="val 56542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fillRef>
            <a:effectRef idx="3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3" name="Трапеция 4"/>
            <p:cNvSpPr/>
            <p:nvPr/>
          </p:nvSpPr>
          <p:spPr>
            <a:xfrm>
              <a:off x="932503" y="3163409"/>
              <a:ext cx="3463584" cy="154866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dirty="0" smtClean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Уровень образовательной организации</a:t>
              </a:r>
              <a:endPara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755576" y="2765465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8064A2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36652" y="4291834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8064A2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88024" y="2347644"/>
            <a:ext cx="424847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6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Временная потеря</a:t>
            </a:r>
          </a:p>
          <a:p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Возникновение затруднений  в  поиске нужного помещения (специалиста) </a:t>
            </a:r>
            <a:b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. Отвлечение сотрудников ДОО на сопровождение родителей  (законных представителей) и посетителей. </a:t>
            </a:r>
            <a:b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Затруднение в выборе правильного направления открывания дверей в ДОО</a:t>
            </a:r>
            <a:endParaRPr lang="ru-RU" sz="1600" b="1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ятно 1 16"/>
          <p:cNvSpPr/>
          <p:nvPr/>
        </p:nvSpPr>
        <p:spPr>
          <a:xfrm>
            <a:off x="1649790" y="5659702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18" name="Пятно 1 17"/>
          <p:cNvSpPr/>
          <p:nvPr/>
        </p:nvSpPr>
        <p:spPr>
          <a:xfrm>
            <a:off x="2615941" y="5675189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3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19" name="Пятно 1 18"/>
          <p:cNvSpPr/>
          <p:nvPr/>
        </p:nvSpPr>
        <p:spPr>
          <a:xfrm>
            <a:off x="3520685" y="5669724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4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20" name="Пятно 1 19"/>
          <p:cNvSpPr/>
          <p:nvPr/>
        </p:nvSpPr>
        <p:spPr>
          <a:xfrm>
            <a:off x="706065" y="5651485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prstClr val="whit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2965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029302" y="797617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Вклад в достижение цели, сек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4526" y="1708704"/>
            <a:ext cx="2110011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Временная потеря</a:t>
            </a:r>
            <a:endParaRPr lang="ru-RU" sz="1200" b="1" dirty="0" smtClean="0">
              <a:solidFill>
                <a:schemeClr val="dk1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405775" y="1621193"/>
            <a:ext cx="2304257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Лишние перемещения и потеря времени всех участников процесса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08676" y="1812016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60-120 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9691" y="1412775"/>
            <a:ext cx="8788870" cy="126869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2071571" y="181201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364771" y="184829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4799209" y="1294295"/>
            <a:ext cx="2386989" cy="1387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.Установка навигационного стенда с нанесением всех объектов ДОО и пути следования.</a:t>
            </a:r>
          </a:p>
          <a:p>
            <a:pPr algn="just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. Разработка схемы расположения внутренних помещений ДОО</a:t>
            </a:r>
          </a:p>
        </p:txBody>
      </p:sp>
      <p:sp>
        <p:nvSpPr>
          <p:cNvPr id="33" name="Стрелка: вправо 3"/>
          <p:cNvSpPr/>
          <p:nvPr/>
        </p:nvSpPr>
        <p:spPr>
          <a:xfrm>
            <a:off x="4401930" y="187914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Анализ проблем «5 почему?»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TextBox 41"/>
          <p:cNvSpPr txBox="1">
            <a:spLocks noChangeArrowheads="1"/>
          </p:cNvSpPr>
          <p:nvPr/>
        </p:nvSpPr>
        <p:spPr bwMode="auto">
          <a:xfrm>
            <a:off x="99691" y="3029318"/>
            <a:ext cx="2110011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Возникновение затруднений в поиске нужного помещения (специалиста)</a:t>
            </a:r>
            <a:endParaRPr lang="ru-RU" sz="1200" b="1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7" name="TextBox 41"/>
          <p:cNvSpPr txBox="1">
            <a:spLocks noChangeArrowheads="1"/>
          </p:cNvSpPr>
          <p:nvPr/>
        </p:nvSpPr>
        <p:spPr bwMode="auto">
          <a:xfrm>
            <a:off x="2373782" y="3003940"/>
            <a:ext cx="2304257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е на всех кабинетах имеются знаки дополнительной информации (таблички обозначающие кабинет)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9691" y="2873148"/>
            <a:ext cx="8779104" cy="1563964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2076458" y="328315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7339515" y="332025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4958006" y="3003940"/>
            <a:ext cx="2270183" cy="12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.Размещение на дверях табличек с названиями кабинетов, помещений ДОО</a:t>
            </a:r>
          </a:p>
          <a:p>
            <a:pPr algn="just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2.Размещение разно уровневых указателей для детей и взрослых</a:t>
            </a:r>
          </a:p>
        </p:txBody>
      </p:sp>
      <p:sp>
        <p:nvSpPr>
          <p:cNvPr id="49" name="Стрелка: вправо 3"/>
          <p:cNvSpPr/>
          <p:nvPr/>
        </p:nvSpPr>
        <p:spPr>
          <a:xfrm>
            <a:off x="4701420" y="332025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99690" y="4661781"/>
            <a:ext cx="2110011" cy="1017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 smtClean="0">
                <a:ln w="3175">
                  <a:noFill/>
                </a:ln>
                <a:latin typeface="Times New Roman" pitchFamily="18" charset="0"/>
                <a:cs typeface="Times New Roman" pitchFamily="18" charset="0"/>
              </a:rPr>
              <a:t>Отвлечение сотрудников ДОО на сопровождение родителей (законных представителей) и посетителей</a:t>
            </a:r>
            <a:endParaRPr lang="ru-RU" sz="1200" dirty="0" smtClean="0">
              <a:solidFill>
                <a:schemeClr val="dk1"/>
              </a:solidFill>
            </a:endParaRP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2494952" y="4861852"/>
            <a:ext cx="2304257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Отсутствие ориентиров – указателей и направлений движения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99691" y="4661781"/>
            <a:ext cx="8765428" cy="150352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7" name="Стрелка: вправо 3"/>
          <p:cNvSpPr/>
          <p:nvPr/>
        </p:nvSpPr>
        <p:spPr>
          <a:xfrm>
            <a:off x="2211897" y="507736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335810" y="506195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Стрелка: вправо 3"/>
          <p:cNvSpPr/>
          <p:nvPr/>
        </p:nvSpPr>
        <p:spPr>
          <a:xfrm>
            <a:off x="4916015" y="507736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715272" y="3286124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45 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60" name="TextBox 41"/>
          <p:cNvSpPr txBox="1">
            <a:spLocks noChangeArrowheads="1"/>
          </p:cNvSpPr>
          <p:nvPr/>
        </p:nvSpPr>
        <p:spPr bwMode="auto">
          <a:xfrm>
            <a:off x="5171131" y="4904620"/>
            <a:ext cx="2088232" cy="1017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altLang="ru-RU" sz="1200" b="1" dirty="0" smtClean="0">
                <a:latin typeface="Times New Roman" pitchFamily="18" charset="0"/>
                <a:cs typeface="Times New Roman" pitchFamily="18" charset="0"/>
              </a:rPr>
              <a:t>1.Составление графика дежурства на вахте.</a:t>
            </a:r>
          </a:p>
          <a:p>
            <a:pPr lvl="0" algn="ctr">
              <a:defRPr/>
            </a:pPr>
            <a:r>
              <a:rPr lang="ru-RU" altLang="ru-RU" sz="1200" b="1" dirty="0" smtClean="0">
                <a:latin typeface="Times New Roman" pitchFamily="18" charset="0"/>
                <a:cs typeface="Times New Roman" pitchFamily="18" charset="0"/>
              </a:rPr>
              <a:t>2.Создание информационного буклета по перемещению в ДОО</a:t>
            </a:r>
          </a:p>
        </p:txBody>
      </p:sp>
      <p:sp>
        <p:nvSpPr>
          <p:cNvPr id="88" name="TextBox 41"/>
          <p:cNvSpPr txBox="1">
            <a:spLocks noChangeArrowheads="1"/>
          </p:cNvSpPr>
          <p:nvPr/>
        </p:nvSpPr>
        <p:spPr bwMode="auto">
          <a:xfrm>
            <a:off x="7755091" y="5063230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20-15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20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029302" y="797617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клад</a:t>
            </a:r>
            <a:r>
              <a:rPr lang="ru-RU" altLang="ru-RU" sz="1200" b="1" dirty="0" smtClean="0">
                <a:solidFill>
                  <a:schemeClr val="tx2"/>
                </a:solidFill>
              </a:rPr>
              <a:t> в достижение цели, мин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4526" y="1662296"/>
            <a:ext cx="2110011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Затруднение в выборе правильного направления открывания дверей в ДОО</a:t>
            </a:r>
            <a:endParaRPr lang="ru-RU" sz="1200" b="1" dirty="0" smtClean="0">
              <a:solidFill>
                <a:schemeClr val="dk1"/>
              </a:solidFill>
            </a:endParaRPr>
          </a:p>
          <a:p>
            <a:endParaRPr lang="ru-RU" sz="12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555776" y="1556792"/>
            <a:ext cx="2304257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е размечено направление открывания дверей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08676" y="1812016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6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9691" y="1412776"/>
            <a:ext cx="8788870" cy="172819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2241309" y="181201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364771" y="184829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5142365" y="1448472"/>
            <a:ext cx="2088232" cy="1571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.Оформление и размещение карточек направления открывания дверей.</a:t>
            </a:r>
          </a:p>
          <a:p>
            <a:pPr algn="just">
              <a:defRPr/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2.Разметка траектории открывания дверей (безопасное открывание и закрывание)</a:t>
            </a:r>
          </a:p>
        </p:txBody>
      </p:sp>
      <p:sp>
        <p:nvSpPr>
          <p:cNvPr id="33" name="Стрелка: вправо 3"/>
          <p:cNvSpPr/>
          <p:nvPr/>
        </p:nvSpPr>
        <p:spPr>
          <a:xfrm>
            <a:off x="4954947" y="1812016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Анализ проблем «5 почему?»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20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669" y="548680"/>
            <a:ext cx="8390107" cy="961676"/>
          </a:xfrm>
        </p:spPr>
        <p:txBody>
          <a:bodyPr>
            <a:norm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anose="02020603050405020304" pitchFamily="18" charset="0"/>
              </a:rPr>
              <a:t>КАРТА ИДЕАЛЬНОГО СОСТОЯНИЯ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птимизация процесса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еремещения посетителей и участников образовательных отношений внутри ДОО»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3992" y="1977295"/>
            <a:ext cx="8229600" cy="4248472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260-440 сек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10366" y="2004686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755576" y="2204864"/>
            <a:ext cx="1716271" cy="7366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ходит на территорию ДОО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491812" y="2276872"/>
            <a:ext cx="1728259" cy="648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иентируется на территори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444208" y="2132856"/>
            <a:ext cx="1721310" cy="8796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ходит в здание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55577" y="4365104"/>
            <a:ext cx="1728192" cy="837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ется</a:t>
            </a:r>
          </a:p>
        </p:txBody>
      </p:sp>
      <p:sp>
        <p:nvSpPr>
          <p:cNvPr id="16" name="Стрелка вниз 15"/>
          <p:cNvSpPr/>
          <p:nvPr/>
        </p:nvSpPr>
        <p:spPr>
          <a:xfrm rot="16200000">
            <a:off x="2615388" y="2168155"/>
            <a:ext cx="658065" cy="411725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5606559" y="2077683"/>
            <a:ext cx="468052" cy="589957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3491880" y="4365104"/>
            <a:ext cx="1728192" cy="837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щет кабинет</a:t>
            </a:r>
          </a:p>
        </p:txBody>
      </p:sp>
      <p:sp>
        <p:nvSpPr>
          <p:cNvPr id="37" name="Стрелка вправо 36"/>
          <p:cNvSpPr/>
          <p:nvPr/>
        </p:nvSpPr>
        <p:spPr>
          <a:xfrm>
            <a:off x="2771800" y="4437112"/>
            <a:ext cx="411725" cy="585153"/>
          </a:xfrm>
          <a:prstGeom prst="rightArrow">
            <a:avLst>
              <a:gd name="adj1" fmla="val 50000"/>
              <a:gd name="adj2" fmla="val 43041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7236296" y="260648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9.06.2020 года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 rot="16200000">
            <a:off x="8162495" y="2200853"/>
            <a:ext cx="658065" cy="411725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755576" y="2941532"/>
            <a:ext cx="1712518" cy="432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-11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55576" y="1700808"/>
            <a:ext cx="1716271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491880" y="2924944"/>
            <a:ext cx="1728192" cy="4253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6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44209" y="2924944"/>
            <a:ext cx="1728192" cy="432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45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55577" y="5085184"/>
            <a:ext cx="1728192" cy="43204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45 сек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491880" y="5085184"/>
            <a:ext cx="1728192" cy="42452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0-12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444208" y="3789040"/>
            <a:ext cx="1716271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55576" y="3789040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491880" y="3789040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444208" y="1628800"/>
            <a:ext cx="1716271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491880" y="1700808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444208" y="4365104"/>
            <a:ext cx="1728192" cy="837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ит в пункт назначения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6444208" y="5085184"/>
            <a:ext cx="1728192" cy="42452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6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5652120" y="4293096"/>
            <a:ext cx="468052" cy="589957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55576" y="1484784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1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444208" y="1412776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3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491880" y="1484784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2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755576" y="3573016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4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3491880" y="3573016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5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444208" y="3573016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6</a:t>
            </a:r>
            <a:endParaRPr lang="ru-RU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63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052736"/>
            <a:ext cx="8229600" cy="424847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300-480 сек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95536" y="1844824"/>
            <a:ext cx="360040" cy="17281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ХОД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10366" y="2004686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755576" y="2420888"/>
            <a:ext cx="1728192" cy="77548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Входит на территорию ДОО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491880" y="2420889"/>
            <a:ext cx="1728192" cy="72008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иентируется на территори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372200" y="2348880"/>
            <a:ext cx="1728192" cy="8079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ходит в здание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55576" y="4725144"/>
            <a:ext cx="1706289" cy="9361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ется</a:t>
            </a:r>
          </a:p>
        </p:txBody>
      </p:sp>
      <p:sp>
        <p:nvSpPr>
          <p:cNvPr id="16" name="Стрелка вниз 15"/>
          <p:cNvSpPr/>
          <p:nvPr/>
        </p:nvSpPr>
        <p:spPr>
          <a:xfrm rot="16200000">
            <a:off x="2648630" y="2472050"/>
            <a:ext cx="658065" cy="411725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5652120" y="2420888"/>
            <a:ext cx="468052" cy="589957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8100392" y="4077072"/>
            <a:ext cx="360040" cy="201622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ХОД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491880" y="4653136"/>
            <a:ext cx="1728192" cy="9361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щет кабинет</a:t>
            </a:r>
          </a:p>
        </p:txBody>
      </p:sp>
      <p:sp>
        <p:nvSpPr>
          <p:cNvPr id="37" name="Стрелка вправо 36"/>
          <p:cNvSpPr/>
          <p:nvPr/>
        </p:nvSpPr>
        <p:spPr>
          <a:xfrm>
            <a:off x="2771800" y="4941168"/>
            <a:ext cx="411725" cy="585153"/>
          </a:xfrm>
          <a:prstGeom prst="rightArrow">
            <a:avLst>
              <a:gd name="adj1" fmla="val 50000"/>
              <a:gd name="adj2" fmla="val 43041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7164288" y="332656"/>
            <a:ext cx="1440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03.07.2020 год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79512" y="260648"/>
            <a:ext cx="29420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будет»)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dirty="0"/>
          </a:p>
        </p:txBody>
      </p:sp>
      <p:sp>
        <p:nvSpPr>
          <p:cNvPr id="39" name="TextBox 38"/>
          <p:cNvSpPr txBox="1"/>
          <p:nvPr/>
        </p:nvSpPr>
        <p:spPr>
          <a:xfrm>
            <a:off x="1187624" y="620688"/>
            <a:ext cx="75608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арта целевого состояния процесса «Оптимизация процесса перемещения посетителей и участников образовательных отношений внутри ДОО» 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Стрелка вниз 39"/>
          <p:cNvSpPr/>
          <p:nvPr/>
        </p:nvSpPr>
        <p:spPr>
          <a:xfrm rot="16200000">
            <a:off x="5528950" y="4992330"/>
            <a:ext cx="658065" cy="411725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Стрелка вниз 41"/>
          <p:cNvSpPr/>
          <p:nvPr/>
        </p:nvSpPr>
        <p:spPr>
          <a:xfrm rot="16200000">
            <a:off x="8121238" y="2544058"/>
            <a:ext cx="658065" cy="411725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755576" y="3140968"/>
            <a:ext cx="1728192" cy="432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-12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491880" y="3140968"/>
            <a:ext cx="1728192" cy="4253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6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372200" y="3140968"/>
            <a:ext cx="1728192" cy="432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45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55576" y="5661248"/>
            <a:ext cx="1706289" cy="4539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-45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491880" y="5589240"/>
            <a:ext cx="1726562" cy="50405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0-15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55576" y="1844824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372200" y="4077072"/>
            <a:ext cx="1716271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372200" y="1772816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491880" y="1844824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55576" y="4077072"/>
            <a:ext cx="1716271" cy="648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491880" y="4077072"/>
            <a:ext cx="1728192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титель, участник образовательных отноше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372200" y="4653136"/>
            <a:ext cx="1728192" cy="9361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ит в пункт назначения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372200" y="5589240"/>
            <a:ext cx="1726562" cy="50405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0-60 сек.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55576" y="1628800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1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372200" y="1556792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3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3491880" y="1628800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2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755576" y="386104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4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372200" y="386104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6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3491880" y="3861048"/>
            <a:ext cx="720080" cy="2160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ШАГ 5</a:t>
            </a:r>
            <a:endParaRPr lang="ru-RU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78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1268760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292026" y="1357402"/>
            <a:ext cx="1514132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493638" y="3720395"/>
            <a:ext cx="2098675" cy="193899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странили потери времени в процессе</a:t>
            </a: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при поиске нужного объекта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2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200" b="1" dirty="0" smtClean="0">
              <a:solidFill>
                <a:schemeClr val="dk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5724128" y="3789040"/>
            <a:ext cx="284241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изовал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систему навигации при входе в учреждение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710301" y="2492896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292080" y="2564904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3059832" y="3717032"/>
            <a:ext cx="252028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али:</a:t>
            </a:r>
          </a:p>
          <a:p>
            <a:r>
              <a:rPr lang="ru-RU" sz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схему расположения помещений ДОО,</a:t>
            </a:r>
          </a:p>
          <a:p>
            <a:r>
              <a:rPr lang="ru-RU" sz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 таблички с названиями кабинетов, указатели направления открывания дверей,</a:t>
            </a:r>
          </a:p>
          <a:p>
            <a:r>
              <a:rPr lang="ru-RU" sz="1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информационный буклет  по перемещению в ДОО</a:t>
            </a:r>
          </a:p>
          <a:p>
            <a:endParaRPr lang="ru-RU" sz="12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2" descr="C:\Users\USER\Desktop\для проекта\IMG_20201124_162718_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67544" y="2132856"/>
            <a:ext cx="1825190" cy="1440160"/>
          </a:xfrm>
          <a:prstGeom prst="rect">
            <a:avLst/>
          </a:prstGeom>
          <a:noFill/>
        </p:spPr>
      </p:pic>
      <p:pic>
        <p:nvPicPr>
          <p:cNvPr id="14" name="Picture 1" descr="C:\Users\USER\Desktop\для проекта\IMG_20201124_16290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03848" y="2132856"/>
            <a:ext cx="1880315" cy="1410236"/>
          </a:xfrm>
          <a:prstGeom prst="rect">
            <a:avLst/>
          </a:prstGeom>
          <a:noFill/>
        </p:spPr>
      </p:pic>
      <p:pic>
        <p:nvPicPr>
          <p:cNvPr id="52248" name="Picture 24" descr="C:\Users\USER\Desktop\для проекта\IMG-20201125-WA0004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28184" y="2060848"/>
            <a:ext cx="1512168" cy="15361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8</TotalTime>
  <Words>1138</Words>
  <Application>Microsoft Office PowerPoint</Application>
  <PresentationFormat>Экран (4:3)</PresentationFormat>
  <Paragraphs>331</Paragraphs>
  <Slides>1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Тема Office</vt:lpstr>
      <vt:lpstr>1_Тема Office</vt:lpstr>
      <vt:lpstr>2_Тема Office</vt:lpstr>
      <vt:lpstr>3_Тема Office</vt:lpstr>
      <vt:lpstr>think-cell Slide</vt:lpstr>
      <vt:lpstr>Паспорт проекта «Оптимизация процесса перемещения посетителей и участников образовательных отношений внутри ДОО»</vt:lpstr>
      <vt:lpstr>Команда проекта </vt:lpstr>
      <vt:lpstr>Карта текущего состояния процесса «Оптимизация процесса перемещения посетителей и участников образовательных отношений внутри ДОО»</vt:lpstr>
      <vt:lpstr>ВВЕДЕНИЕ В ПРЕДМЕТНУЮ ОБЛАСТЬ (ОПИСАНИЕ СИТУАЦИИ «КАК ЕСТЬ»)  ПИРАМИДА  ПРОБЛЕМ  </vt:lpstr>
      <vt:lpstr>Презентация PowerPoint</vt:lpstr>
      <vt:lpstr>Презентация PowerPoint</vt:lpstr>
      <vt:lpstr>КАРТА ИДЕАЛЬНОГО СОСТОЯНИЯ «Оптимизация процесса перемещения посетителей и участников образовательных отношений внутри ДОО»</vt:lpstr>
      <vt:lpstr>Презентация PowerPoint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198</cp:revision>
  <cp:lastPrinted>2019-04-25T09:14:46Z</cp:lastPrinted>
  <dcterms:created xsi:type="dcterms:W3CDTF">2018-08-20T14:01:12Z</dcterms:created>
  <dcterms:modified xsi:type="dcterms:W3CDTF">2020-12-02T08:28:25Z</dcterms:modified>
</cp:coreProperties>
</file>